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7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F9-45BD-B03A-DA4A4650080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F9-45BD-B03A-DA4A4650080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F9-45BD-B03A-DA4A46500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67-43FD-A754-35F4964E79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67-43FD-A754-35F4964E79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noMultiLvlLbl val="1"/>
      </c:catAx>
      <c:valAx>
        <c:axId val="6192824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EB88ED-2AA0-30A8-D7D5-737E85F0D6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9F29755-FD73-A7E1-76B6-C93D0B79BA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F29755-FD73-A7E1-76B6-C93D0B79BA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14345E6C-36C6-3A80-3954-2132454C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ustered Column / Stacked Area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56DFFC6-DB58-E7F7-5AEF-48703E227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5BA8880E-D45E-2031-B885-80647DA9CF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1E043E8-BD18-1F5F-B300-9762960484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F39E76B1-0488-A047-F3CF-80822611C873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D150CCFF-2374-772F-76CD-1CF92773894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B5819AD0-EDA6-F925-1A0A-B0D53E1CB98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/>
        <p:txBody>
          <a:bodyPr/>
          <a:lstStyle/>
          <a:p>
            <a:endParaRPr lang="en-PH"/>
          </a:p>
        </p:txBody>
      </p:sp>
      <p:graphicFrame>
        <p:nvGraphicFramePr>
          <p:cNvPr id="15" name="Chart Placeholder 9">
            <a:extLst>
              <a:ext uri="{FF2B5EF4-FFF2-40B4-BE49-F238E27FC236}">
                <a16:creationId xmlns:a16="http://schemas.microsoft.com/office/drawing/2014/main" id="{02837AEC-7ED2-FB7F-6806-AAD834443757}"/>
              </a:ext>
            </a:extLst>
          </p:cNvPr>
          <p:cNvGraphicFramePr>
            <a:graphicFrameLocks/>
          </p:cNvGraphicFramePr>
          <p:nvPr/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76547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1</TotalTime>
  <Words>23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lustered Column / Stacked 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42</cp:revision>
  <dcterms:created xsi:type="dcterms:W3CDTF">2025-07-09T10:57:17Z</dcterms:created>
  <dcterms:modified xsi:type="dcterms:W3CDTF">2025-10-22T10:06:15Z</dcterms:modified>
  <cp:category/>
</cp:coreProperties>
</file>